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2" r:id="rId4"/>
  </p:sldMasterIdLst>
  <p:notesMasterIdLst>
    <p:notesMasterId r:id="rId20"/>
  </p:notesMasterIdLst>
  <p:handoutMasterIdLst>
    <p:handoutMasterId r:id="rId21"/>
  </p:handoutMasterIdLst>
  <p:sldIdLst>
    <p:sldId id="287" r:id="rId5"/>
    <p:sldId id="288" r:id="rId6"/>
    <p:sldId id="289" r:id="rId7"/>
    <p:sldId id="290" r:id="rId8"/>
    <p:sldId id="291" r:id="rId9"/>
    <p:sldId id="292" r:id="rId10"/>
    <p:sldId id="261" r:id="rId11"/>
    <p:sldId id="262" r:id="rId12"/>
    <p:sldId id="263" r:id="rId13"/>
    <p:sldId id="264" r:id="rId14"/>
    <p:sldId id="273" r:id="rId15"/>
    <p:sldId id="274" r:id="rId16"/>
    <p:sldId id="276" r:id="rId17"/>
    <p:sldId id="279" r:id="rId18"/>
    <p:sldId id="278" r:id="rId19"/>
  </p:sldIdLst>
  <p:sldSz cx="9144000" cy="6858000" type="screen4x3"/>
  <p:notesSz cx="6858000" cy="9144000"/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87">
          <p15:clr>
            <a:srgbClr val="A4A3A4"/>
          </p15:clr>
        </p15:guide>
        <p15:guide id="2" orient="horz" pos="4209">
          <p15:clr>
            <a:srgbClr val="A4A3A4"/>
          </p15:clr>
        </p15:guide>
        <p15:guide id="3" orient="horz" pos="375">
          <p15:clr>
            <a:srgbClr val="A4A3A4"/>
          </p15:clr>
        </p15:guide>
        <p15:guide id="4" orient="horz" pos="984">
          <p15:clr>
            <a:srgbClr val="A4A3A4"/>
          </p15:clr>
        </p15:guide>
        <p15:guide id="5" orient="horz" pos="1017">
          <p15:clr>
            <a:srgbClr val="A4A3A4"/>
          </p15:clr>
        </p15:guide>
        <p15:guide id="6" orient="horz" pos="3669">
          <p15:clr>
            <a:srgbClr val="A4A3A4"/>
          </p15:clr>
        </p15:guide>
        <p15:guide id="7" pos="332">
          <p15:clr>
            <a:srgbClr val="A4A3A4"/>
          </p15:clr>
        </p15:guide>
        <p15:guide id="8" pos="5418">
          <p15:clr>
            <a:srgbClr val="A4A3A4"/>
          </p15:clr>
        </p15:guide>
        <p15:guide id="9" pos="2773">
          <p15:clr>
            <a:srgbClr val="A4A3A4"/>
          </p15:clr>
        </p15:guide>
        <p15:guide id="10" pos="300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424242"/>
    <a:srgbClr val="84848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26" autoAdjust="0"/>
    <p:restoredTop sz="94660"/>
  </p:normalViewPr>
  <p:slideViewPr>
    <p:cSldViewPr snapToGrid="0" showGuides="1">
      <p:cViewPr varScale="1">
        <p:scale>
          <a:sx n="111" d="100"/>
          <a:sy n="111" d="100"/>
        </p:scale>
        <p:origin x="1038" y="108"/>
      </p:cViewPr>
      <p:guideLst>
        <p:guide orient="horz" pos="3987"/>
        <p:guide orient="horz" pos="4209"/>
        <p:guide orient="horz" pos="375"/>
        <p:guide orient="horz" pos="984"/>
        <p:guide orient="horz" pos="1017"/>
        <p:guide orient="horz" pos="3669"/>
        <p:guide pos="332"/>
        <p:guide pos="5418"/>
        <p:guide pos="2773"/>
        <p:guide pos="300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69" d="100"/>
          <a:sy n="69" d="100"/>
        </p:scale>
        <p:origin x="-3270" y="-108"/>
      </p:cViewPr>
      <p:guideLst>
        <p:guide orient="horz" pos="2880"/>
        <p:guide pos="216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7383D55-1D8E-47F0-8407-8CF902454C52}" type="datetimeFigureOut">
              <a:rPr lang="en-US" smtClean="0"/>
              <a:t>6/28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0D73952-53CB-4D8F-B858-71DE4FE97A3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10925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C5454E-9E81-4C99-A91B-42C07507225A}" type="datetimeFigureOut">
              <a:rPr lang="en-US" smtClean="0"/>
              <a:t>6/28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A537934-768C-4C37-BAD1-E522F3AEBAF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59758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281535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440192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919889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747139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953650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546889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86135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99643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3648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26899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89200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765577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383231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420966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74605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5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6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7.jpe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406"/>
          <a:stretch/>
        </p:blipFill>
        <p:spPr>
          <a:xfrm>
            <a:off x="-1" y="2"/>
            <a:ext cx="9144001" cy="6376987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 bwMode="gray">
          <a:xfrm>
            <a:off x="1" y="2"/>
            <a:ext cx="4773613" cy="6376987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40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38493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1968251" y="6510528"/>
            <a:ext cx="923544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611781BA-40BD-4733-9F3B-E5D3110E1532}" type="datetime1">
              <a:rPr lang="en-US" smtClean="0"/>
              <a:t>6/28/2017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23199" y="6510528"/>
            <a:ext cx="4754880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Add data classification or delete this footer</a:t>
            </a:r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37899" y="6510528"/>
            <a:ext cx="558799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Rectangle 19"/>
          <p:cNvSpPr/>
          <p:nvPr/>
        </p:nvSpPr>
        <p:spPr bwMode="gray">
          <a:xfrm>
            <a:off x="0" y="3483864"/>
            <a:ext cx="9144000" cy="2386584"/>
          </a:xfrm>
          <a:prstGeom prst="rect">
            <a:avLst/>
          </a:prstGeom>
          <a:solidFill>
            <a:srgbClr val="424242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6344" y="457200"/>
            <a:ext cx="3355848" cy="22479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66344" y="3483864"/>
            <a:ext cx="8211312" cy="1472184"/>
          </a:xfrm>
        </p:spPr>
        <p:txBody>
          <a:bodyPr anchor="b" anchorCtr="0">
            <a:noAutofit/>
          </a:bodyPr>
          <a:lstStyle>
            <a:lvl1pPr>
              <a:defRPr sz="4000" b="0">
                <a:solidFill>
                  <a:srgbClr val="5EAEE0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466344" y="5082579"/>
            <a:ext cx="8056564" cy="36933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National Ecological Observatory Network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470650" y="5400881"/>
            <a:ext cx="8693151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i="1" dirty="0">
                <a:solidFill>
                  <a:schemeClr val="bg1"/>
                </a:solidFill>
              </a:rPr>
              <a:t>A project sponsored by the National Science Foundation and </a:t>
            </a:r>
            <a:r>
              <a:rPr lang="en-US" sz="1000" i="1" dirty="0" smtClean="0">
                <a:solidFill>
                  <a:schemeClr val="bg1"/>
                </a:solidFill>
              </a:rPr>
              <a:t>proudly operated by Battelle</a:t>
            </a:r>
            <a:endParaRPr lang="en-US" sz="1000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1674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 bwMode="gray">
          <a:xfrm>
            <a:off x="0" y="0"/>
            <a:ext cx="9144000" cy="60724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Rectangle 19"/>
          <p:cNvSpPr/>
          <p:nvPr userDrawn="1"/>
        </p:nvSpPr>
        <p:spPr bwMode="gray">
          <a:xfrm>
            <a:off x="0" y="5918944"/>
            <a:ext cx="9144000" cy="50799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 20"/>
          <p:cNvSpPr/>
          <p:nvPr userDrawn="1"/>
        </p:nvSpPr>
        <p:spPr bwMode="gray">
          <a:xfrm>
            <a:off x="0" y="5717789"/>
            <a:ext cx="9144000" cy="4784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Rectangle 21"/>
          <p:cNvSpPr/>
          <p:nvPr userDrawn="1"/>
        </p:nvSpPr>
        <p:spPr bwMode="gray">
          <a:xfrm>
            <a:off x="0" y="6012657"/>
            <a:ext cx="9144000" cy="363532"/>
          </a:xfrm>
          <a:prstGeom prst="rect">
            <a:avLst/>
          </a:prstGeom>
          <a:solidFill>
            <a:srgbClr val="141414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344" y="3328416"/>
            <a:ext cx="8211312" cy="1329267"/>
          </a:xfrm>
        </p:spPr>
        <p:txBody>
          <a:bodyPr>
            <a:noAutofit/>
          </a:bodyPr>
          <a:lstStyle>
            <a:lvl1pPr marL="0" indent="0" algn="l">
              <a:buNone/>
              <a:defRPr sz="1800" cap="none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 bwMode="gray">
          <a:xfrm>
            <a:off x="466344" y="1972855"/>
            <a:ext cx="8211312" cy="1165224"/>
          </a:xfrm>
        </p:spPr>
        <p:txBody>
          <a:bodyPr anchor="b" anchorCtr="0"/>
          <a:lstStyle>
            <a:lvl1pPr>
              <a:defRPr b="0"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section header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1968251" y="6510528"/>
            <a:ext cx="923544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611781BA-40BD-4733-9F3B-E5D3110E1532}" type="datetime1">
              <a:rPr lang="en-US" smtClean="0"/>
              <a:t>6/28/2017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23199" y="6510528"/>
            <a:ext cx="4754880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Add data classification or delete this footer</a:t>
            </a:r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37899" y="6510528"/>
            <a:ext cx="558799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39114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453543" y="3563772"/>
            <a:ext cx="8236914" cy="45719"/>
            <a:chOff x="453543" y="3563772"/>
            <a:chExt cx="8236914" cy="45719"/>
          </a:xfrm>
        </p:grpSpPr>
        <p:sp>
          <p:nvSpPr>
            <p:cNvPr id="24" name="Rectangle 23"/>
            <p:cNvSpPr/>
            <p:nvPr/>
          </p:nvSpPr>
          <p:spPr bwMode="auto">
            <a:xfrm flipH="1">
              <a:off x="4572000" y="3563772"/>
              <a:ext cx="4118457" cy="4571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26" name="Rectangle 25"/>
            <p:cNvSpPr/>
            <p:nvPr/>
          </p:nvSpPr>
          <p:spPr bwMode="auto">
            <a:xfrm flipH="1">
              <a:off x="453543" y="3563772"/>
              <a:ext cx="4118457" cy="4571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1080000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27" name="Group 26"/>
          <p:cNvGrpSpPr/>
          <p:nvPr userDrawn="1"/>
        </p:nvGrpSpPr>
        <p:grpSpPr>
          <a:xfrm>
            <a:off x="4547705" y="1233839"/>
            <a:ext cx="48589" cy="4822179"/>
            <a:chOff x="4547705" y="1233839"/>
            <a:chExt cx="48589" cy="4822179"/>
          </a:xfrm>
        </p:grpSpPr>
        <p:sp>
          <p:nvSpPr>
            <p:cNvPr id="32" name="Rectangle 31"/>
            <p:cNvSpPr/>
            <p:nvPr/>
          </p:nvSpPr>
          <p:spPr bwMode="auto">
            <a:xfrm rot="5400000" flipH="1">
              <a:off x="3366455" y="4826179"/>
              <a:ext cx="2411089" cy="4858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3" name="Rectangle 32"/>
            <p:cNvSpPr/>
            <p:nvPr/>
          </p:nvSpPr>
          <p:spPr bwMode="auto">
            <a:xfrm rot="5400000" flipH="1">
              <a:off x="3366455" y="2415089"/>
              <a:ext cx="2411089" cy="4858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1080000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6344" y="1865376"/>
            <a:ext cx="3857625" cy="1664208"/>
          </a:xfrm>
        </p:spPr>
        <p:txBody>
          <a:bodyPr>
            <a:noAutofit/>
          </a:bodyPr>
          <a:lstStyle>
            <a:lvl1pPr marL="171450" indent="-171450"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2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828032" y="1865376"/>
            <a:ext cx="3858768" cy="1664208"/>
          </a:xfrm>
        </p:spPr>
        <p:txBody>
          <a:bodyPr>
            <a:noAutofit/>
          </a:bodyPr>
          <a:lstStyle>
            <a:lvl1pPr marL="171450" indent="-171450"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2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3" name="Text Placeholder 2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66344" y="4169664"/>
            <a:ext cx="3857625" cy="1660672"/>
          </a:xfrm>
        </p:spPr>
        <p:txBody>
          <a:bodyPr/>
          <a:lstStyle>
            <a:lvl1pPr marL="171450" indent="-171450"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2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5" name="Text Placeholder 24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828032" y="4169664"/>
            <a:ext cx="3858768" cy="1664208"/>
          </a:xfrm>
        </p:spPr>
        <p:txBody>
          <a:bodyPr/>
          <a:lstStyle>
            <a:lvl1pPr marL="171450" indent="-171450"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2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8" name="Title 27"/>
          <p:cNvSpPr>
            <a:spLocks noGrp="1"/>
          </p:cNvSpPr>
          <p:nvPr userDrawn="1">
            <p:ph type="title" hasCustomPrompt="1"/>
          </p:nvPr>
        </p:nvSpPr>
        <p:spPr/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0" name="Text Placeholder 39"/>
          <p:cNvSpPr>
            <a:spLocks noGrp="1"/>
          </p:cNvSpPr>
          <p:nvPr userDrawn="1">
            <p:ph type="body" sz="quarter" idx="18"/>
          </p:nvPr>
        </p:nvSpPr>
        <p:spPr>
          <a:xfrm>
            <a:off x="466344" y="1481328"/>
            <a:ext cx="3858820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41" name="Text Placeholder 39"/>
          <p:cNvSpPr>
            <a:spLocks noGrp="1"/>
          </p:cNvSpPr>
          <p:nvPr userDrawn="1">
            <p:ph type="body" sz="quarter" idx="19"/>
          </p:nvPr>
        </p:nvSpPr>
        <p:spPr>
          <a:xfrm>
            <a:off x="4828032" y="1481328"/>
            <a:ext cx="3858768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42" name="Text Placeholder 39"/>
          <p:cNvSpPr>
            <a:spLocks noGrp="1"/>
          </p:cNvSpPr>
          <p:nvPr userDrawn="1">
            <p:ph type="body" sz="quarter" idx="20"/>
          </p:nvPr>
        </p:nvSpPr>
        <p:spPr>
          <a:xfrm>
            <a:off x="466344" y="3767328"/>
            <a:ext cx="3860479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43" name="Text Placeholder 39"/>
          <p:cNvSpPr>
            <a:spLocks noGrp="1"/>
          </p:cNvSpPr>
          <p:nvPr userDrawn="1">
            <p:ph type="body" sz="quarter" idx="21"/>
          </p:nvPr>
        </p:nvSpPr>
        <p:spPr>
          <a:xfrm>
            <a:off x="4828032" y="3767328"/>
            <a:ext cx="3858768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2"/>
          </p:nvPr>
        </p:nvSpPr>
        <p:spPr>
          <a:xfrm>
            <a:off x="1968251" y="6510528"/>
            <a:ext cx="923544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611781BA-40BD-4733-9F3B-E5D3110E1532}" type="datetime1">
              <a:rPr lang="en-US" smtClean="0"/>
              <a:t>6/28/2017</a:t>
            </a:fld>
            <a:endParaRPr lang="en-US" dirty="0"/>
          </a:p>
        </p:txBody>
      </p:sp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23199" y="6510528"/>
            <a:ext cx="4754880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Add data classification or delete this footer</a:t>
            </a:r>
            <a:endParaRPr lang="en-US" dirty="0"/>
          </a:p>
        </p:txBody>
      </p:sp>
      <p:sp>
        <p:nvSpPr>
          <p:cNvPr id="34" name="Slide Number Placeholder 5"/>
          <p:cNvSpPr>
            <a:spLocks noGrp="1"/>
          </p:cNvSpPr>
          <p:nvPr>
            <p:ph type="sldNum" sz="quarter" idx="23"/>
          </p:nvPr>
        </p:nvSpPr>
        <p:spPr>
          <a:xfrm>
            <a:off x="1437899" y="6510528"/>
            <a:ext cx="558799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46405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6344" y="1481328"/>
            <a:ext cx="3931920" cy="338328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6344" y="1892808"/>
            <a:ext cx="3931920" cy="4206240"/>
          </a:xfrm>
        </p:spPr>
        <p:txBody>
          <a:bodyPr>
            <a:no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73613" y="1481328"/>
            <a:ext cx="3904488" cy="347472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tit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73613" y="1892808"/>
            <a:ext cx="3904488" cy="4206240"/>
          </a:xfrm>
        </p:spPr>
        <p:txBody>
          <a:bodyPr>
            <a:no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1968251" y="6510528"/>
            <a:ext cx="923544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611781BA-40BD-4733-9F3B-E5D3110E1532}" type="datetime1">
              <a:rPr lang="en-US" smtClean="0"/>
              <a:t>6/28/2017</a:t>
            </a:fld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723199" y="6510528"/>
            <a:ext cx="4754880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Add data classification or delete this footer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37899" y="6510528"/>
            <a:ext cx="558799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19622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6344" y="1481328"/>
            <a:ext cx="3931920" cy="373895"/>
          </a:xfrm>
        </p:spPr>
        <p:txBody>
          <a:bodyPr anchor="t" anchorCtr="0">
            <a:noAutofit/>
          </a:bodyPr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6344" y="1901952"/>
            <a:ext cx="3931920" cy="466736"/>
          </a:xfrm>
        </p:spPr>
        <p:txBody>
          <a:bodyPr anchor="t" anchorCtr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75249" y="1481328"/>
            <a:ext cx="3904488" cy="373895"/>
          </a:xfrm>
        </p:spPr>
        <p:txBody>
          <a:bodyPr anchor="t" anchorCtr="0">
            <a:noAutofit/>
          </a:bodyPr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75249" y="1901952"/>
            <a:ext cx="3904488" cy="466736"/>
          </a:xfrm>
        </p:spPr>
        <p:txBody>
          <a:bodyPr anchor="t" anchorCtr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Chart Placeholder 12"/>
          <p:cNvSpPr>
            <a:spLocks noGrp="1"/>
          </p:cNvSpPr>
          <p:nvPr>
            <p:ph type="chart" sz="quarter" idx="13"/>
          </p:nvPr>
        </p:nvSpPr>
        <p:spPr>
          <a:xfrm>
            <a:off x="466344" y="2377440"/>
            <a:ext cx="3931920" cy="3703320"/>
          </a:xfrm>
        </p:spPr>
        <p:txBody>
          <a:bodyPr anchor="t" anchorCtr="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chart</a:t>
            </a:r>
          </a:p>
        </p:txBody>
      </p:sp>
      <p:sp>
        <p:nvSpPr>
          <p:cNvPr id="15" name="Chart Placeholder 14"/>
          <p:cNvSpPr>
            <a:spLocks noGrp="1"/>
          </p:cNvSpPr>
          <p:nvPr>
            <p:ph type="chart" sz="quarter" idx="14"/>
          </p:nvPr>
        </p:nvSpPr>
        <p:spPr>
          <a:xfrm>
            <a:off x="4773613" y="2377440"/>
            <a:ext cx="3904488" cy="3694176"/>
          </a:xfrm>
        </p:spPr>
        <p:txBody>
          <a:bodyPr anchor="t" anchorCtr="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chart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5"/>
          </p:nvPr>
        </p:nvSpPr>
        <p:spPr>
          <a:xfrm>
            <a:off x="1968251" y="6510528"/>
            <a:ext cx="923544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611781BA-40BD-4733-9F3B-E5D3110E1532}" type="datetime1">
              <a:rPr lang="en-US" smtClean="0"/>
              <a:t>6/28/2017</a:t>
            </a:fld>
            <a:endParaRPr lang="en-US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16"/>
          </p:nvPr>
        </p:nvSpPr>
        <p:spPr>
          <a:xfrm>
            <a:off x="2723199" y="6510528"/>
            <a:ext cx="4754880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Add data classification or delete this footer</a:t>
            </a:r>
            <a:endParaRPr lang="en-US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17"/>
          </p:nvPr>
        </p:nvSpPr>
        <p:spPr>
          <a:xfrm>
            <a:off x="1437899" y="6510528"/>
            <a:ext cx="558799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65240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1968251" y="6510528"/>
            <a:ext cx="923544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611781BA-40BD-4733-9F3B-E5D3110E1532}" type="datetime1">
              <a:rPr lang="en-US" smtClean="0"/>
              <a:t>6/28/2017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23199" y="6510528"/>
            <a:ext cx="4754880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Add data classification or delete this footer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37899" y="6510528"/>
            <a:ext cx="558799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89411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>
          <a:xfrm>
            <a:off x="1968251" y="6510528"/>
            <a:ext cx="923544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611781BA-40BD-4733-9F3B-E5D3110E1532}" type="datetime1">
              <a:rPr lang="en-US" smtClean="0"/>
              <a:t>6/28/2017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23199" y="6510528"/>
            <a:ext cx="4754880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Add data classification or delete this footer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37899" y="6510528"/>
            <a:ext cx="558799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43722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losing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119" b="20415"/>
          <a:stretch/>
        </p:blipFill>
        <p:spPr>
          <a:xfrm>
            <a:off x="-2" y="-1"/>
            <a:ext cx="9144000" cy="3623715"/>
          </a:xfrm>
          <a:prstGeom prst="rect">
            <a:avLst/>
          </a:prstGeom>
        </p:spPr>
      </p:pic>
      <p:sp>
        <p:nvSpPr>
          <p:cNvPr id="27" name="Rectangle 26"/>
          <p:cNvSpPr/>
          <p:nvPr userDrawn="1"/>
        </p:nvSpPr>
        <p:spPr bwMode="white">
          <a:xfrm>
            <a:off x="0" y="3429000"/>
            <a:ext cx="9144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7132" y="4688362"/>
            <a:ext cx="3471335" cy="937982"/>
          </a:xfrm>
          <a:prstGeom prst="rect">
            <a:avLst/>
          </a:prstGeom>
        </p:spPr>
      </p:pic>
      <p:sp>
        <p:nvSpPr>
          <p:cNvPr id="29" name="Rectangle 28"/>
          <p:cNvSpPr/>
          <p:nvPr userDrawn="1"/>
        </p:nvSpPr>
        <p:spPr bwMode="white">
          <a:xfrm>
            <a:off x="0" y="3429000"/>
            <a:ext cx="9144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/>
          <p:cNvSpPr/>
          <p:nvPr userDrawn="1"/>
        </p:nvSpPr>
        <p:spPr bwMode="gray">
          <a:xfrm>
            <a:off x="-1" y="3246120"/>
            <a:ext cx="9143999" cy="365760"/>
          </a:xfrm>
          <a:prstGeom prst="rect">
            <a:avLst/>
          </a:prstGeom>
          <a:solidFill>
            <a:srgbClr val="00428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sp>
        <p:nvSpPr>
          <p:cNvPr id="33" name="TextBox 32"/>
          <p:cNvSpPr txBox="1"/>
          <p:nvPr userDrawn="1"/>
        </p:nvSpPr>
        <p:spPr>
          <a:xfrm>
            <a:off x="935307" y="6225331"/>
            <a:ext cx="7273401" cy="332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560" b="1" dirty="0" smtClean="0">
                <a:solidFill>
                  <a:schemeClr val="tx2"/>
                </a:solidFill>
              </a:rPr>
              <a:t>720.746.4844 | </a:t>
            </a:r>
            <a:r>
              <a:rPr lang="en-US" sz="1560" b="1" dirty="0" err="1" smtClean="0">
                <a:solidFill>
                  <a:schemeClr val="tx2"/>
                </a:solidFill>
              </a:rPr>
              <a:t>neonscience@battelleecology.org</a:t>
            </a:r>
            <a:r>
              <a:rPr lang="en-US" sz="1560" b="1" baseline="0" dirty="0" smtClean="0">
                <a:solidFill>
                  <a:schemeClr val="tx2"/>
                </a:solidFill>
              </a:rPr>
              <a:t>   </a:t>
            </a:r>
            <a:r>
              <a:rPr lang="en-US" sz="1560" b="1" baseline="0" dirty="0">
                <a:solidFill>
                  <a:schemeClr val="tx2"/>
                </a:solidFill>
              </a:rPr>
              <a:t>|  </a:t>
            </a:r>
            <a:r>
              <a:rPr lang="en-US" sz="1560" b="1" baseline="0" dirty="0" smtClean="0">
                <a:solidFill>
                  <a:schemeClr val="tx2"/>
                </a:solidFill>
              </a:rPr>
              <a:t>www.neonscience.org</a:t>
            </a:r>
          </a:p>
        </p:txBody>
      </p:sp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3259" y="4375099"/>
            <a:ext cx="2586276" cy="758002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5125" y="4309031"/>
            <a:ext cx="2052261" cy="824070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>
          <a:xfrm>
            <a:off x="4419600" y="3884028"/>
            <a:ext cx="0" cy="1608667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37730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without Image and with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 userDrawn="1"/>
        </p:nvSpPr>
        <p:spPr bwMode="gray">
          <a:xfrm>
            <a:off x="0" y="0"/>
            <a:ext cx="9144000" cy="53828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Rectangle 26"/>
          <p:cNvSpPr/>
          <p:nvPr userDrawn="1"/>
        </p:nvSpPr>
        <p:spPr bwMode="white">
          <a:xfrm flipV="1">
            <a:off x="0" y="5963438"/>
            <a:ext cx="9144000" cy="8945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Rectangle 27"/>
          <p:cNvSpPr/>
          <p:nvPr userDrawn="1"/>
        </p:nvSpPr>
        <p:spPr bwMode="gray">
          <a:xfrm>
            <a:off x="0" y="5243656"/>
            <a:ext cx="9144000" cy="4784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Rectangle 28"/>
          <p:cNvSpPr/>
          <p:nvPr userDrawn="1"/>
        </p:nvSpPr>
        <p:spPr bwMode="gray">
          <a:xfrm>
            <a:off x="0" y="5538524"/>
            <a:ext cx="9144000" cy="363532"/>
          </a:xfrm>
          <a:prstGeom prst="rect">
            <a:avLst/>
          </a:prstGeom>
          <a:solidFill>
            <a:srgbClr val="141414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2106" y="2070100"/>
            <a:ext cx="3567662" cy="1045633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971" y="1927528"/>
            <a:ext cx="2959100" cy="1188205"/>
          </a:xfrm>
          <a:prstGeom prst="rect">
            <a:avLst/>
          </a:prstGeom>
        </p:spPr>
      </p:pic>
      <p:cxnSp>
        <p:nvCxnSpPr>
          <p:cNvPr id="4" name="Straight Connector 3"/>
          <p:cNvCxnSpPr/>
          <p:nvPr userDrawn="1"/>
        </p:nvCxnSpPr>
        <p:spPr>
          <a:xfrm>
            <a:off x="4419600" y="1659469"/>
            <a:ext cx="0" cy="1608667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 userDrawn="1"/>
        </p:nvSpPr>
        <p:spPr>
          <a:xfrm>
            <a:off x="935307" y="6208398"/>
            <a:ext cx="7273401" cy="332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560" b="1" dirty="0" smtClean="0">
                <a:solidFill>
                  <a:schemeClr val="tx2"/>
                </a:solidFill>
              </a:rPr>
              <a:t>720.746.4844 | </a:t>
            </a:r>
            <a:r>
              <a:rPr lang="en-US" sz="1560" b="1" dirty="0" err="1" smtClean="0">
                <a:solidFill>
                  <a:schemeClr val="tx2"/>
                </a:solidFill>
              </a:rPr>
              <a:t>neonscience@battelleecology.org</a:t>
            </a:r>
            <a:r>
              <a:rPr lang="en-US" sz="1560" b="1" baseline="0" dirty="0" smtClean="0">
                <a:solidFill>
                  <a:schemeClr val="tx2"/>
                </a:solidFill>
              </a:rPr>
              <a:t>   </a:t>
            </a:r>
            <a:r>
              <a:rPr lang="en-US" sz="1560" b="1" baseline="0" dirty="0">
                <a:solidFill>
                  <a:schemeClr val="tx2"/>
                </a:solidFill>
              </a:rPr>
              <a:t>|  </a:t>
            </a:r>
            <a:r>
              <a:rPr lang="en-US" sz="1560" b="1" baseline="0" dirty="0" smtClean="0">
                <a:solidFill>
                  <a:schemeClr val="tx2"/>
                </a:solidFill>
              </a:rPr>
              <a:t>www.neonscience.org</a:t>
            </a:r>
          </a:p>
        </p:txBody>
      </p:sp>
    </p:spTree>
    <p:extLst>
      <p:ext uri="{BB962C8B-B14F-4D97-AF65-F5344CB8AC3E}">
        <p14:creationId xmlns:p14="http://schemas.microsoft.com/office/powerpoint/2010/main" val="22417275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4"/>
            <a:ext cx="9144001" cy="6376990"/>
          </a:xfrm>
          <a:prstGeom prst="rect">
            <a:avLst/>
          </a:prstGeom>
        </p:spPr>
      </p:pic>
      <p:sp>
        <p:nvSpPr>
          <p:cNvPr id="17" name="Rectangle 16"/>
          <p:cNvSpPr/>
          <p:nvPr userDrawn="1"/>
        </p:nvSpPr>
        <p:spPr bwMode="gray">
          <a:xfrm>
            <a:off x="1" y="2"/>
            <a:ext cx="4773613" cy="6376987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40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8" name="Rectangle 17"/>
          <p:cNvSpPr/>
          <p:nvPr userDrawn="1"/>
        </p:nvSpPr>
        <p:spPr bwMode="gray">
          <a:xfrm>
            <a:off x="0" y="3483864"/>
            <a:ext cx="9144000" cy="2386584"/>
          </a:xfrm>
          <a:prstGeom prst="rect">
            <a:avLst/>
          </a:prstGeom>
          <a:solidFill>
            <a:srgbClr val="424242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6344" y="457200"/>
            <a:ext cx="3355848" cy="22479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66344" y="3483864"/>
            <a:ext cx="8211312" cy="1472184"/>
          </a:xfrm>
        </p:spPr>
        <p:txBody>
          <a:bodyPr anchor="b" anchorCtr="0">
            <a:noAutofit/>
          </a:bodyPr>
          <a:lstStyle>
            <a:lvl1pPr>
              <a:defRPr sz="4000" b="0">
                <a:solidFill>
                  <a:srgbClr val="5EAEE0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466344" y="5082579"/>
            <a:ext cx="8056564" cy="36933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National Ecological Observatory Network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470650" y="5400881"/>
            <a:ext cx="8693151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i="1" dirty="0">
                <a:solidFill>
                  <a:schemeClr val="bg1"/>
                </a:solidFill>
              </a:rPr>
              <a:t>A project sponsored by the National Science Foundation and </a:t>
            </a:r>
            <a:r>
              <a:rPr lang="en-US" sz="1000" i="1" dirty="0" smtClean="0">
                <a:solidFill>
                  <a:schemeClr val="bg1"/>
                </a:solidFill>
              </a:rPr>
              <a:t>proudly </a:t>
            </a:r>
            <a:r>
              <a:rPr lang="en-US" sz="1000" i="1" smtClean="0">
                <a:solidFill>
                  <a:schemeClr val="bg1"/>
                </a:solidFill>
              </a:rPr>
              <a:t>operated by Battelle</a:t>
            </a:r>
            <a:endParaRPr lang="en-US" sz="1000" i="1" dirty="0">
              <a:solidFill>
                <a:schemeClr val="bg1"/>
              </a:solidFill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1968251" y="6510528"/>
            <a:ext cx="923544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611781BA-40BD-4733-9F3B-E5D3110E1532}" type="datetime1">
              <a:rPr lang="en-US" smtClean="0"/>
              <a:t>6/28/2017</a:t>
            </a:fld>
            <a:endParaRPr lang="en-US" dirty="0"/>
          </a:p>
        </p:txBody>
      </p:sp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23199" y="6510528"/>
            <a:ext cx="4754880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Add data classification or delete this footer</a:t>
            </a:r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37899" y="6510528"/>
            <a:ext cx="558799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9775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376987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 bwMode="gray">
          <a:xfrm>
            <a:off x="1" y="2"/>
            <a:ext cx="4773613" cy="6376987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40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9" name="Rectangle 18"/>
          <p:cNvSpPr/>
          <p:nvPr userDrawn="1"/>
        </p:nvSpPr>
        <p:spPr bwMode="gray">
          <a:xfrm>
            <a:off x="0" y="3483864"/>
            <a:ext cx="9144000" cy="2386584"/>
          </a:xfrm>
          <a:prstGeom prst="rect">
            <a:avLst/>
          </a:prstGeom>
          <a:solidFill>
            <a:srgbClr val="424242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6344" y="457200"/>
            <a:ext cx="3355848" cy="22479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66344" y="3483864"/>
            <a:ext cx="8211312" cy="1472184"/>
          </a:xfrm>
        </p:spPr>
        <p:txBody>
          <a:bodyPr anchor="b" anchorCtr="0">
            <a:noAutofit/>
          </a:bodyPr>
          <a:lstStyle>
            <a:lvl1pPr>
              <a:defRPr sz="4000" b="0">
                <a:solidFill>
                  <a:srgbClr val="5EAEE0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466344" y="5082579"/>
            <a:ext cx="8056564" cy="36933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National Ecological Observatory Network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470650" y="5400881"/>
            <a:ext cx="8693151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i="1" dirty="0">
                <a:solidFill>
                  <a:schemeClr val="bg1"/>
                </a:solidFill>
              </a:rPr>
              <a:t>A project sponsored by the National Science Foundation and </a:t>
            </a:r>
            <a:r>
              <a:rPr lang="en-US" sz="1000" i="1" dirty="0" smtClean="0">
                <a:solidFill>
                  <a:schemeClr val="bg1"/>
                </a:solidFill>
              </a:rPr>
              <a:t>proudly operated by Battelle</a:t>
            </a:r>
            <a:endParaRPr lang="en-US" sz="1000" i="1" dirty="0">
              <a:solidFill>
                <a:schemeClr val="bg1"/>
              </a:solidFill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1968251" y="6510528"/>
            <a:ext cx="923544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611781BA-40BD-4733-9F3B-E5D3110E1532}" type="datetime1">
              <a:rPr lang="en-US" smtClean="0"/>
              <a:t>6/28/2017</a:t>
            </a:fld>
            <a:endParaRPr lang="en-US" dirty="0"/>
          </a:p>
        </p:txBody>
      </p:sp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23199" y="6510528"/>
            <a:ext cx="4754880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Add data classification or delete this footer</a:t>
            </a:r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37899" y="6510528"/>
            <a:ext cx="558799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869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4074"/>
            <a:ext cx="9144000" cy="6378406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 bwMode="gray">
          <a:xfrm>
            <a:off x="1" y="2"/>
            <a:ext cx="4773613" cy="6376987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60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8" name="Rectangle 17"/>
          <p:cNvSpPr/>
          <p:nvPr userDrawn="1"/>
        </p:nvSpPr>
        <p:spPr bwMode="gray">
          <a:xfrm>
            <a:off x="0" y="3483864"/>
            <a:ext cx="9144000" cy="2386584"/>
          </a:xfrm>
          <a:prstGeom prst="rect">
            <a:avLst/>
          </a:prstGeom>
          <a:solidFill>
            <a:srgbClr val="363636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6344" y="457200"/>
            <a:ext cx="3355848" cy="22479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66344" y="3483864"/>
            <a:ext cx="8211312" cy="1472184"/>
          </a:xfrm>
        </p:spPr>
        <p:txBody>
          <a:bodyPr anchor="b" anchorCtr="0">
            <a:noAutofit/>
          </a:bodyPr>
          <a:lstStyle>
            <a:lvl1pPr>
              <a:defRPr sz="4000" b="0">
                <a:solidFill>
                  <a:srgbClr val="5EAEE0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466344" y="5082579"/>
            <a:ext cx="8056564" cy="36933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National Ecological Observatory Network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470650" y="5400881"/>
            <a:ext cx="8693151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i="1" dirty="0">
                <a:solidFill>
                  <a:schemeClr val="bg1"/>
                </a:solidFill>
              </a:rPr>
              <a:t>A project sponsored by the National Science Foundation and </a:t>
            </a:r>
            <a:r>
              <a:rPr lang="en-US" sz="1000" i="1" dirty="0" smtClean="0">
                <a:solidFill>
                  <a:schemeClr val="bg1"/>
                </a:solidFill>
              </a:rPr>
              <a:t>proudly </a:t>
            </a:r>
            <a:r>
              <a:rPr lang="en-US" sz="1000" i="1" smtClean="0">
                <a:solidFill>
                  <a:schemeClr val="bg1"/>
                </a:solidFill>
              </a:rPr>
              <a:t>operated by Battelle</a:t>
            </a:r>
            <a:endParaRPr lang="en-US" sz="1000" i="1" dirty="0">
              <a:solidFill>
                <a:schemeClr val="bg1"/>
              </a:solidFill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1968251" y="6510528"/>
            <a:ext cx="923544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611781BA-40BD-4733-9F3B-E5D3110E1532}" type="datetime1">
              <a:rPr lang="en-US" smtClean="0"/>
              <a:t>6/28/2017</a:t>
            </a:fld>
            <a:endParaRPr lang="en-US" dirty="0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23199" y="6510528"/>
            <a:ext cx="4754880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Add data classification or delete this footer</a:t>
            </a:r>
            <a:endParaRPr lang="en-US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37899" y="6510528"/>
            <a:ext cx="558799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4791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/>
          <p:cNvSpPr/>
          <p:nvPr userDrawn="1"/>
        </p:nvSpPr>
        <p:spPr bwMode="gray">
          <a:xfrm>
            <a:off x="0" y="-1"/>
            <a:ext cx="9144000" cy="60724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Rectangle 24"/>
          <p:cNvSpPr/>
          <p:nvPr userDrawn="1"/>
        </p:nvSpPr>
        <p:spPr bwMode="gray">
          <a:xfrm>
            <a:off x="0" y="5918944"/>
            <a:ext cx="9144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Rectangle 25"/>
          <p:cNvSpPr/>
          <p:nvPr userDrawn="1"/>
        </p:nvSpPr>
        <p:spPr bwMode="gray">
          <a:xfrm>
            <a:off x="0" y="5717788"/>
            <a:ext cx="9144000" cy="4784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Rectangle 26"/>
          <p:cNvSpPr/>
          <p:nvPr userDrawn="1"/>
        </p:nvSpPr>
        <p:spPr bwMode="gray">
          <a:xfrm>
            <a:off x="0" y="6012656"/>
            <a:ext cx="9144000" cy="363532"/>
          </a:xfrm>
          <a:prstGeom prst="rect">
            <a:avLst/>
          </a:prstGeom>
          <a:solidFill>
            <a:srgbClr val="141414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66344" y="342901"/>
            <a:ext cx="8211312" cy="234315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40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344" y="2871216"/>
            <a:ext cx="8211312" cy="323165"/>
          </a:xfrm>
        </p:spPr>
        <p:txBody>
          <a:bodyPr vert="horz" wrap="square" lIns="0" tIns="0" rIns="0" bIns="0" rtlCol="0">
            <a:spAutoFit/>
          </a:bodyPr>
          <a:lstStyle>
            <a:lvl1pPr marL="228600" indent="-228600">
              <a:buNone/>
              <a:defRPr lang="en-US" sz="2100" dirty="0">
                <a:solidFill>
                  <a:schemeClr val="bg1"/>
                </a:solidFill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6344" y="4560889"/>
            <a:ext cx="8211312" cy="1162050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1968251" y="6510528"/>
            <a:ext cx="923544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611781BA-40BD-4733-9F3B-E5D3110E1532}" type="datetime1">
              <a:rPr lang="en-US" smtClean="0"/>
              <a:t>6/28/2017</a:t>
            </a:fld>
            <a:endParaRPr lang="en-US" dirty="0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23199" y="6510528"/>
            <a:ext cx="4754880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Add data classification or delete this footer</a:t>
            </a:r>
            <a:endParaRPr lang="en-US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37899" y="6510528"/>
            <a:ext cx="558799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49307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 bwMode="gray">
          <a:xfrm>
            <a:off x="0" y="5918944"/>
            <a:ext cx="9144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Rectangle 22"/>
          <p:cNvSpPr/>
          <p:nvPr userDrawn="1"/>
        </p:nvSpPr>
        <p:spPr bwMode="gray">
          <a:xfrm>
            <a:off x="0" y="6019799"/>
            <a:ext cx="9144000" cy="242207"/>
          </a:xfrm>
          <a:prstGeom prst="rect">
            <a:avLst/>
          </a:prstGeom>
          <a:solidFill>
            <a:srgbClr val="0076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Rectangle 23"/>
          <p:cNvSpPr/>
          <p:nvPr userDrawn="1"/>
        </p:nvSpPr>
        <p:spPr bwMode="gray">
          <a:xfrm>
            <a:off x="0" y="6139542"/>
            <a:ext cx="9144000" cy="236645"/>
          </a:xfrm>
          <a:prstGeom prst="rect">
            <a:avLst/>
          </a:prstGeom>
          <a:solidFill>
            <a:srgbClr val="141414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6344" y="342901"/>
            <a:ext cx="8211312" cy="234315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4000" b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6344" y="2871216"/>
            <a:ext cx="8211312" cy="320040"/>
          </a:xfrm>
        </p:spPr>
        <p:txBody>
          <a:bodyPr vert="horz" wrap="square" lIns="0" tIns="0" rIns="0" bIns="0" rtlCol="0">
            <a:spAutoFit/>
          </a:bodyPr>
          <a:lstStyle>
            <a:lvl1pPr marL="228600" indent="-228600">
              <a:buNone/>
              <a:defRPr lang="en-US" sz="2100" dirty="0">
                <a:solidFill>
                  <a:schemeClr val="accent1"/>
                </a:solidFill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66344" y="4560889"/>
            <a:ext cx="8211312" cy="1162050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accent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1968251" y="6510528"/>
            <a:ext cx="923544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611781BA-40BD-4733-9F3B-E5D3110E1532}" type="datetime1">
              <a:rPr lang="en-US" smtClean="0"/>
              <a:t>6/28/2017</a:t>
            </a:fld>
            <a:endParaRPr lang="en-US" dirty="0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23199" y="6510528"/>
            <a:ext cx="4754880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Add data classification or delete this footer</a:t>
            </a:r>
            <a:endParaRPr lang="en-US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37899" y="6510528"/>
            <a:ext cx="558799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12049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anchor="t" anchorCtr="0"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6344" y="1481328"/>
            <a:ext cx="8211312" cy="46360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1968251" y="6510528"/>
            <a:ext cx="923544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611781BA-40BD-4733-9F3B-E5D3110E1532}" type="datetime1">
              <a:rPr lang="en-US" smtClean="0"/>
              <a:t>6/28/2017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23199" y="6510528"/>
            <a:ext cx="4754880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Add data classification or delete this footer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37899" y="6510528"/>
            <a:ext cx="558799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67831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6344" y="420624"/>
            <a:ext cx="8211312" cy="531738"/>
          </a:xfrm>
        </p:spPr>
        <p:txBody>
          <a:bodyPr anchor="t" anchorCtr="0"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6344" y="1481328"/>
            <a:ext cx="8211312" cy="46360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6344" y="905256"/>
            <a:ext cx="8211312" cy="44849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968251" y="6510528"/>
            <a:ext cx="923544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611781BA-40BD-4733-9F3B-E5D3110E1532}" type="datetime1">
              <a:rPr lang="en-US" smtClean="0"/>
              <a:t>6/28/2017</a:t>
            </a:fld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23199" y="6510528"/>
            <a:ext cx="4754880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Add data classification or delete this footer</a:t>
            </a:r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37899" y="6510528"/>
            <a:ext cx="558799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721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6344" y="420624"/>
            <a:ext cx="8211312" cy="96332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66344" y="1481328"/>
            <a:ext cx="3950208" cy="4636008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727448" y="1481328"/>
            <a:ext cx="3950208" cy="4636008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1968251" y="6510528"/>
            <a:ext cx="923544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611781BA-40BD-4733-9F3B-E5D3110E1532}" type="datetime1">
              <a:rPr lang="en-US" smtClean="0"/>
              <a:t>6/28/2017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23199" y="6510528"/>
            <a:ext cx="4754880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Add data classification or delete this footer</a:t>
            </a:r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37899" y="6510528"/>
            <a:ext cx="558799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43477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gray">
          <a:xfrm>
            <a:off x="461962" y="6192078"/>
            <a:ext cx="8319275" cy="123966"/>
          </a:xfrm>
          <a:prstGeom prst="rect">
            <a:avLst/>
          </a:prstGeom>
          <a:solidFill>
            <a:srgbClr val="0076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 userDrawn="1"/>
        </p:nvSpPr>
        <p:spPr bwMode="gray">
          <a:xfrm>
            <a:off x="461962" y="6252068"/>
            <a:ext cx="8319275" cy="123967"/>
          </a:xfrm>
          <a:prstGeom prst="rect">
            <a:avLst/>
          </a:prstGeom>
          <a:solidFill>
            <a:srgbClr val="141414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Freeform: Shape 13"/>
          <p:cNvSpPr/>
          <p:nvPr userDrawn="1"/>
        </p:nvSpPr>
        <p:spPr bwMode="white">
          <a:xfrm>
            <a:off x="8699086" y="6181821"/>
            <a:ext cx="109538" cy="221456"/>
          </a:xfrm>
          <a:custGeom>
            <a:avLst/>
            <a:gdLst>
              <a:gd name="connsiteX0" fmla="*/ 0 w 402431"/>
              <a:gd name="connsiteY0" fmla="*/ 321468 h 340518"/>
              <a:gd name="connsiteX1" fmla="*/ 114300 w 402431"/>
              <a:gd name="connsiteY1" fmla="*/ 0 h 340518"/>
              <a:gd name="connsiteX2" fmla="*/ 402431 w 402431"/>
              <a:gd name="connsiteY2" fmla="*/ 0 h 340518"/>
              <a:gd name="connsiteX3" fmla="*/ 402431 w 402431"/>
              <a:gd name="connsiteY3" fmla="*/ 340518 h 340518"/>
              <a:gd name="connsiteX4" fmla="*/ 0 w 402431"/>
              <a:gd name="connsiteY4" fmla="*/ 321468 h 340518"/>
              <a:gd name="connsiteX0" fmla="*/ 0 w 402431"/>
              <a:gd name="connsiteY0" fmla="*/ 321468 h 340518"/>
              <a:gd name="connsiteX1" fmla="*/ 76200 w 402431"/>
              <a:gd name="connsiteY1" fmla="*/ 100013 h 340518"/>
              <a:gd name="connsiteX2" fmla="*/ 402431 w 402431"/>
              <a:gd name="connsiteY2" fmla="*/ 0 h 340518"/>
              <a:gd name="connsiteX3" fmla="*/ 402431 w 402431"/>
              <a:gd name="connsiteY3" fmla="*/ 340518 h 340518"/>
              <a:gd name="connsiteX4" fmla="*/ 0 w 402431"/>
              <a:gd name="connsiteY4" fmla="*/ 321468 h 340518"/>
              <a:gd name="connsiteX0" fmla="*/ 0 w 402431"/>
              <a:gd name="connsiteY0" fmla="*/ 321468 h 340518"/>
              <a:gd name="connsiteX1" fmla="*/ 76200 w 402431"/>
              <a:gd name="connsiteY1" fmla="*/ 100013 h 340518"/>
              <a:gd name="connsiteX2" fmla="*/ 402431 w 402431"/>
              <a:gd name="connsiteY2" fmla="*/ 0 h 340518"/>
              <a:gd name="connsiteX3" fmla="*/ 402431 w 402431"/>
              <a:gd name="connsiteY3" fmla="*/ 340518 h 340518"/>
              <a:gd name="connsiteX4" fmla="*/ 0 w 402431"/>
              <a:gd name="connsiteY4" fmla="*/ 321468 h 340518"/>
              <a:gd name="connsiteX0" fmla="*/ 0 w 402431"/>
              <a:gd name="connsiteY0" fmla="*/ 321468 h 340518"/>
              <a:gd name="connsiteX1" fmla="*/ 76200 w 402431"/>
              <a:gd name="connsiteY1" fmla="*/ 100013 h 340518"/>
              <a:gd name="connsiteX2" fmla="*/ 402431 w 402431"/>
              <a:gd name="connsiteY2" fmla="*/ 0 h 340518"/>
              <a:gd name="connsiteX3" fmla="*/ 402431 w 402431"/>
              <a:gd name="connsiteY3" fmla="*/ 340518 h 340518"/>
              <a:gd name="connsiteX4" fmla="*/ 0 w 402431"/>
              <a:gd name="connsiteY4" fmla="*/ 321468 h 340518"/>
              <a:gd name="connsiteX0" fmla="*/ 0 w 402431"/>
              <a:gd name="connsiteY0" fmla="*/ 321468 h 321468"/>
              <a:gd name="connsiteX1" fmla="*/ 76200 w 402431"/>
              <a:gd name="connsiteY1" fmla="*/ 100013 h 321468"/>
              <a:gd name="connsiteX2" fmla="*/ 402431 w 402431"/>
              <a:gd name="connsiteY2" fmla="*/ 0 h 321468"/>
              <a:gd name="connsiteX3" fmla="*/ 104775 w 402431"/>
              <a:gd name="connsiteY3" fmla="*/ 319087 h 321468"/>
              <a:gd name="connsiteX4" fmla="*/ 0 w 402431"/>
              <a:gd name="connsiteY4" fmla="*/ 321468 h 321468"/>
              <a:gd name="connsiteX0" fmla="*/ 0 w 109537"/>
              <a:gd name="connsiteY0" fmla="*/ 221455 h 221455"/>
              <a:gd name="connsiteX1" fmla="*/ 76200 w 109537"/>
              <a:gd name="connsiteY1" fmla="*/ 0 h 221455"/>
              <a:gd name="connsiteX2" fmla="*/ 109537 w 109537"/>
              <a:gd name="connsiteY2" fmla="*/ 14287 h 221455"/>
              <a:gd name="connsiteX3" fmla="*/ 104775 w 109537"/>
              <a:gd name="connsiteY3" fmla="*/ 219074 h 221455"/>
              <a:gd name="connsiteX4" fmla="*/ 0 w 109537"/>
              <a:gd name="connsiteY4" fmla="*/ 221455 h 221455"/>
              <a:gd name="connsiteX0" fmla="*/ 0 w 111918"/>
              <a:gd name="connsiteY0" fmla="*/ 221455 h 221455"/>
              <a:gd name="connsiteX1" fmla="*/ 76200 w 111918"/>
              <a:gd name="connsiteY1" fmla="*/ 0 h 221455"/>
              <a:gd name="connsiteX2" fmla="*/ 111918 w 111918"/>
              <a:gd name="connsiteY2" fmla="*/ 14287 h 221455"/>
              <a:gd name="connsiteX3" fmla="*/ 104775 w 111918"/>
              <a:gd name="connsiteY3" fmla="*/ 219074 h 221455"/>
              <a:gd name="connsiteX4" fmla="*/ 0 w 111918"/>
              <a:gd name="connsiteY4" fmla="*/ 221455 h 221455"/>
              <a:gd name="connsiteX0" fmla="*/ 0 w 111918"/>
              <a:gd name="connsiteY0" fmla="*/ 221455 h 221455"/>
              <a:gd name="connsiteX1" fmla="*/ 76200 w 111918"/>
              <a:gd name="connsiteY1" fmla="*/ 0 h 221455"/>
              <a:gd name="connsiteX2" fmla="*/ 111918 w 111918"/>
              <a:gd name="connsiteY2" fmla="*/ 4762 h 221455"/>
              <a:gd name="connsiteX3" fmla="*/ 104775 w 111918"/>
              <a:gd name="connsiteY3" fmla="*/ 219074 h 221455"/>
              <a:gd name="connsiteX4" fmla="*/ 0 w 111918"/>
              <a:gd name="connsiteY4" fmla="*/ 221455 h 221455"/>
              <a:gd name="connsiteX0" fmla="*/ 0 w 111918"/>
              <a:gd name="connsiteY0" fmla="*/ 221455 h 221455"/>
              <a:gd name="connsiteX1" fmla="*/ 76200 w 111918"/>
              <a:gd name="connsiteY1" fmla="*/ 0 h 221455"/>
              <a:gd name="connsiteX2" fmla="*/ 111918 w 111918"/>
              <a:gd name="connsiteY2" fmla="*/ 4762 h 221455"/>
              <a:gd name="connsiteX3" fmla="*/ 104775 w 111918"/>
              <a:gd name="connsiteY3" fmla="*/ 219074 h 221455"/>
              <a:gd name="connsiteX4" fmla="*/ 0 w 111918"/>
              <a:gd name="connsiteY4" fmla="*/ 221455 h 221455"/>
              <a:gd name="connsiteX0" fmla="*/ 0 w 111918"/>
              <a:gd name="connsiteY0" fmla="*/ 221455 h 221455"/>
              <a:gd name="connsiteX1" fmla="*/ 76200 w 111918"/>
              <a:gd name="connsiteY1" fmla="*/ 0 h 221455"/>
              <a:gd name="connsiteX2" fmla="*/ 111918 w 111918"/>
              <a:gd name="connsiteY2" fmla="*/ 4762 h 221455"/>
              <a:gd name="connsiteX3" fmla="*/ 104775 w 111918"/>
              <a:gd name="connsiteY3" fmla="*/ 219074 h 221455"/>
              <a:gd name="connsiteX4" fmla="*/ 0 w 111918"/>
              <a:gd name="connsiteY4" fmla="*/ 221455 h 221455"/>
              <a:gd name="connsiteX0" fmla="*/ 0 w 109537"/>
              <a:gd name="connsiteY0" fmla="*/ 221456 h 221456"/>
              <a:gd name="connsiteX1" fmla="*/ 76200 w 109537"/>
              <a:gd name="connsiteY1" fmla="*/ 1 h 221456"/>
              <a:gd name="connsiteX2" fmla="*/ 109537 w 109537"/>
              <a:gd name="connsiteY2" fmla="*/ 0 h 221456"/>
              <a:gd name="connsiteX3" fmla="*/ 104775 w 109537"/>
              <a:gd name="connsiteY3" fmla="*/ 219075 h 221456"/>
              <a:gd name="connsiteX4" fmla="*/ 0 w 109537"/>
              <a:gd name="connsiteY4" fmla="*/ 221456 h 221456"/>
              <a:gd name="connsiteX0" fmla="*/ 0 w 109538"/>
              <a:gd name="connsiteY0" fmla="*/ 221456 h 221456"/>
              <a:gd name="connsiteX1" fmla="*/ 76200 w 109538"/>
              <a:gd name="connsiteY1" fmla="*/ 1 h 221456"/>
              <a:gd name="connsiteX2" fmla="*/ 109537 w 109538"/>
              <a:gd name="connsiteY2" fmla="*/ 0 h 221456"/>
              <a:gd name="connsiteX3" fmla="*/ 109538 w 109538"/>
              <a:gd name="connsiteY3" fmla="*/ 219075 h 221456"/>
              <a:gd name="connsiteX4" fmla="*/ 0 w 109538"/>
              <a:gd name="connsiteY4" fmla="*/ 221456 h 221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538" h="221456">
                <a:moveTo>
                  <a:pt x="0" y="221456"/>
                </a:moveTo>
                <a:lnTo>
                  <a:pt x="76200" y="1"/>
                </a:lnTo>
                <a:lnTo>
                  <a:pt x="109537" y="0"/>
                </a:lnTo>
                <a:cubicBezTo>
                  <a:pt x="109537" y="73025"/>
                  <a:pt x="109538" y="146050"/>
                  <a:pt x="109538" y="219075"/>
                </a:cubicBezTo>
                <a:lnTo>
                  <a:pt x="0" y="221456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9294" y="6516818"/>
            <a:ext cx="1097280" cy="184712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5375348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6344" y="420624"/>
            <a:ext cx="8211312" cy="96332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6344" y="1481328"/>
            <a:ext cx="8211312" cy="46360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 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953968" y="6510528"/>
            <a:ext cx="922566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A803001A-AC4A-446F-835C-DFDC41A5F4BF}" type="datetime1">
              <a:rPr lang="en-US" smtClean="0"/>
              <a:t>6/28/2017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23616" y="6510528"/>
            <a:ext cx="558799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37486" y="6510528"/>
            <a:ext cx="4754880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Add data classification or delete this footer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962" y="6470668"/>
            <a:ext cx="747468" cy="300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7799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719" r:id="rId2"/>
    <p:sldLayoutId id="2147483720" r:id="rId3"/>
    <p:sldLayoutId id="2147483721" r:id="rId4"/>
    <p:sldLayoutId id="2147483684" r:id="rId5"/>
    <p:sldLayoutId id="2147483704" r:id="rId6"/>
    <p:sldLayoutId id="2147483685" r:id="rId7"/>
    <p:sldLayoutId id="2147483686" r:id="rId8"/>
    <p:sldLayoutId id="2147483687" r:id="rId9"/>
    <p:sldLayoutId id="2147483688" r:id="rId10"/>
    <p:sldLayoutId id="2147483699" r:id="rId11"/>
    <p:sldLayoutId id="2147483705" r:id="rId12"/>
    <p:sldLayoutId id="2147483700" r:id="rId13"/>
    <p:sldLayoutId id="2147483701" r:id="rId14"/>
    <p:sldLayoutId id="2147483718" r:id="rId15"/>
    <p:sldLayoutId id="2147483702" r:id="rId16"/>
    <p:sldLayoutId id="2147483703" r:id="rId17"/>
  </p:sldLayoutIdLst>
  <p:hf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6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SzPct val="115000"/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69863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SzPct val="85000"/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44538" indent="-228600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Font typeface="Arial" pitchFamily="34" charset="0"/>
        <a:buChar char="−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171450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Font typeface="Arial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201738" indent="-228600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9" name="Text Placeholder 8" descr="&lt;COMPANY_NAME&gt;{177,257.7743,36,42.87496}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Employee Name</a:t>
            </a:r>
          </a:p>
          <a:p>
            <a:r>
              <a:rPr lang="en-US" dirty="0"/>
              <a:t>Employee Title</a:t>
            </a:r>
          </a:p>
          <a:p>
            <a:r>
              <a:rPr lang="en-US" dirty="0"/>
              <a:t>Department Name</a:t>
            </a:r>
          </a:p>
          <a:p>
            <a:r>
              <a:rPr lang="en-US" dirty="0"/>
              <a:t>Date</a:t>
            </a:r>
          </a:p>
        </p:txBody>
      </p:sp>
      <p:sp>
        <p:nvSpPr>
          <p:cNvPr id="7" name="Title 6" descr="&lt;TITLE&gt;{122.6817,634.3749,227.5001,42.87512}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466344" y="5082579"/>
            <a:ext cx="8056564" cy="36933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National Ecological Observatory Network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70650" y="5400881"/>
            <a:ext cx="8693151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i="1" dirty="0">
                <a:solidFill>
                  <a:schemeClr val="bg1"/>
                </a:solidFill>
              </a:rPr>
              <a:t>A project sponsored by the National Science Foundation and </a:t>
            </a:r>
            <a:r>
              <a:rPr lang="en-US" sz="1000" i="1" dirty="0" smtClean="0">
                <a:solidFill>
                  <a:schemeClr val="bg1"/>
                </a:solidFill>
              </a:rPr>
              <a:t>proudly operated by Battelle</a:t>
            </a:r>
            <a:endParaRPr lang="en-US" sz="1000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7377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54582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Content Placeholder 44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/>
              <a:t>Second content level – text appears in this font style size and color </a:t>
            </a:r>
          </a:p>
          <a:p>
            <a:r>
              <a:rPr lang="en-US"/>
              <a:t>Second content level – text appears in this font style size and color </a:t>
            </a:r>
          </a:p>
          <a:p>
            <a:r>
              <a:rPr lang="en-US"/>
              <a:t>Second content level – text appears </a:t>
            </a:r>
            <a:endParaRPr lang="en-US" dirty="0"/>
          </a:p>
        </p:txBody>
      </p:sp>
      <p:sp>
        <p:nvSpPr>
          <p:cNvPr id="46" name="Content Placeholder 45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r>
              <a:rPr lang="en-US"/>
              <a:t>Second content level – text appears in this font style size and color </a:t>
            </a:r>
          </a:p>
          <a:p>
            <a:r>
              <a:rPr lang="en-US"/>
              <a:t>Second content level – text appears in this font style size and color </a:t>
            </a:r>
          </a:p>
          <a:p>
            <a:r>
              <a:rPr lang="en-US"/>
              <a:t>Second content level – text appears </a:t>
            </a:r>
            <a:endParaRPr lang="en-US" dirty="0"/>
          </a:p>
        </p:txBody>
      </p:sp>
      <p:sp>
        <p:nvSpPr>
          <p:cNvPr id="47" name="Text Placeholder 4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Second content level – text appears in this font style size and color </a:t>
            </a:r>
          </a:p>
          <a:p>
            <a:r>
              <a:rPr lang="en-US"/>
              <a:t>Second content level – text appears in this font style size and color </a:t>
            </a:r>
          </a:p>
          <a:p>
            <a:r>
              <a:rPr lang="en-US"/>
              <a:t>Second content level – text appears </a:t>
            </a:r>
            <a:endParaRPr lang="en-US" dirty="0"/>
          </a:p>
        </p:txBody>
      </p:sp>
      <p:sp>
        <p:nvSpPr>
          <p:cNvPr id="48" name="Text Placeholder 4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Second content level – text appears in this font style size and color </a:t>
            </a:r>
          </a:p>
          <a:p>
            <a:r>
              <a:rPr lang="en-US"/>
              <a:t>Second content level – text appears in this font style size and color </a:t>
            </a:r>
          </a:p>
          <a:p>
            <a:r>
              <a:rPr lang="en-US"/>
              <a:t>Second content level – text appears </a:t>
            </a:r>
            <a:endParaRPr lang="en-US" dirty="0"/>
          </a:p>
        </p:txBody>
      </p:sp>
      <p:sp>
        <p:nvSpPr>
          <p:cNvPr id="44" name="Title 4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our content slide</a:t>
            </a:r>
            <a:endParaRPr lang="en-US" dirty="0"/>
          </a:p>
        </p:txBody>
      </p:sp>
      <p:sp>
        <p:nvSpPr>
          <p:cNvPr id="49" name="Text Placeholder 48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/>
              <a:t>Subtitle appears here</a:t>
            </a:r>
            <a:endParaRPr lang="en-US" dirty="0"/>
          </a:p>
        </p:txBody>
      </p:sp>
      <p:sp>
        <p:nvSpPr>
          <p:cNvPr id="50" name="Text Placeholder 49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/>
              <a:t>Subtitle appears here</a:t>
            </a:r>
            <a:endParaRPr lang="en-US" dirty="0"/>
          </a:p>
        </p:txBody>
      </p:sp>
      <p:sp>
        <p:nvSpPr>
          <p:cNvPr id="51" name="Text Placeholder 50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/>
              <a:t>Subtitle appears here</a:t>
            </a:r>
            <a:endParaRPr lang="en-US" dirty="0"/>
          </a:p>
        </p:txBody>
      </p:sp>
      <p:sp>
        <p:nvSpPr>
          <p:cNvPr id="52" name="Text Placeholder 51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/>
              <a:t>Subtitle appear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76821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le 2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wo content with subheading slide</a:t>
            </a:r>
            <a:endParaRPr lang="en-US" dirty="0"/>
          </a:p>
        </p:txBody>
      </p:sp>
      <p:sp>
        <p:nvSpPr>
          <p:cNvPr id="29" name="Text Placeholder 28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Subtitle appears here</a:t>
            </a:r>
            <a:endParaRPr lang="en-US" dirty="0"/>
          </a:p>
        </p:txBody>
      </p:sp>
      <p:sp>
        <p:nvSpPr>
          <p:cNvPr id="30" name="Content Placeholder 29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/>
              <a:t>Second content level – text appears in this font style size and color </a:t>
            </a:r>
          </a:p>
          <a:p>
            <a:r>
              <a:rPr lang="en-US"/>
              <a:t>Second content level – text appears in this font style size and color </a:t>
            </a:r>
          </a:p>
          <a:p>
            <a:r>
              <a:rPr lang="en-US"/>
              <a:t>Second content level – text appears in this font style size and color </a:t>
            </a:r>
          </a:p>
          <a:p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/>
              <a:t>Subtitle appears here</a:t>
            </a:r>
            <a:endParaRPr lang="en-US" dirty="0"/>
          </a:p>
        </p:txBody>
      </p:sp>
      <p:sp>
        <p:nvSpPr>
          <p:cNvPr id="32" name="Content Placeholder 31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r>
              <a:rPr lang="en-US"/>
              <a:t>Second content level – text appears in this font style size and color </a:t>
            </a:r>
          </a:p>
          <a:p>
            <a:r>
              <a:rPr lang="en-US"/>
              <a:t>Second content level – text appears in this font style size and color </a:t>
            </a:r>
          </a:p>
          <a:p>
            <a:r>
              <a:rPr lang="en-US"/>
              <a:t>Second content level – text appears in this font style size and color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25513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tle only slide</a:t>
            </a:r>
          </a:p>
        </p:txBody>
      </p:sp>
    </p:spTree>
    <p:extLst>
      <p:ext uri="{BB962C8B-B14F-4D97-AF65-F5344CB8AC3E}">
        <p14:creationId xmlns:p14="http://schemas.microsoft.com/office/powerpoint/2010/main" val="2114012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468031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189031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558799" cy="206236"/>
          </a:xfrm>
        </p:spPr>
        <p:txBody>
          <a:bodyPr/>
          <a:lstStyle/>
          <a:p>
            <a:fld id="{47A9008A-481B-4F65-A514-1AA65EA0FD53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8" name="Subtitle 7" descr="&lt;SUBTITLE&gt;{48.91677,634.3749,353.6666,42.87512}"/>
          <p:cNvSpPr>
            <a:spLocks noGrp="1"/>
          </p:cNvSpPr>
          <p:nvPr>
            <p:ph type="subTitle" idx="4294967295"/>
          </p:nvPr>
        </p:nvSpPr>
        <p:spPr>
          <a:xfrm>
            <a:off x="466344" y="4956048"/>
            <a:ext cx="8211312" cy="62124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Text Placeholder 8" descr="&lt;COMPANY_NAME&gt;{177,257.7743,36,42.87496}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Employee Name</a:t>
            </a:r>
          </a:p>
          <a:p>
            <a:r>
              <a:rPr lang="en-US"/>
              <a:t>Employee Title</a:t>
            </a:r>
          </a:p>
          <a:p>
            <a:r>
              <a:rPr lang="en-US"/>
              <a:t>Department Name</a:t>
            </a:r>
          </a:p>
          <a:p>
            <a:r>
              <a:rPr lang="en-US"/>
              <a:t>Date</a:t>
            </a:r>
            <a:endParaRPr lang="en-US" dirty="0"/>
          </a:p>
        </p:txBody>
      </p:sp>
      <p:sp>
        <p:nvSpPr>
          <p:cNvPr id="7" name="Title 6" descr="&lt;TITLE&gt;{122.6817,634.3749,227.5001,42.87512}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1589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558799" cy="206236"/>
          </a:xfrm>
        </p:spPr>
        <p:txBody>
          <a:bodyPr/>
          <a:lstStyle/>
          <a:p>
            <a:fld id="{47A9008A-481B-4F65-A514-1AA65EA0FD53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8" name="Subtitle 7" descr="&lt;SUBTITLE&gt;{48.91677,634.3749,353.6666,42.87512}"/>
          <p:cNvSpPr>
            <a:spLocks noGrp="1"/>
          </p:cNvSpPr>
          <p:nvPr>
            <p:ph type="subTitle" idx="4294967295"/>
          </p:nvPr>
        </p:nvSpPr>
        <p:spPr>
          <a:xfrm>
            <a:off x="466344" y="5138928"/>
            <a:ext cx="8211312" cy="62124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Text Placeholder 8" descr="&lt;COMPANY_NAME&gt;{177,257.7743,36,42.87496}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Employee Name</a:t>
            </a:r>
          </a:p>
          <a:p>
            <a:r>
              <a:rPr lang="en-US" dirty="0"/>
              <a:t>Employee Title</a:t>
            </a:r>
          </a:p>
          <a:p>
            <a:r>
              <a:rPr lang="en-US" dirty="0"/>
              <a:t>Department Name</a:t>
            </a:r>
          </a:p>
          <a:p>
            <a:r>
              <a:rPr lang="en-US" dirty="0"/>
              <a:t>Date</a:t>
            </a:r>
          </a:p>
        </p:txBody>
      </p:sp>
      <p:sp>
        <p:nvSpPr>
          <p:cNvPr id="7" name="Title 6" descr="&lt;TITLE&gt;{122.6817,634.3749,227.5001,42.87512}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1785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558799" cy="206236"/>
          </a:xfrm>
        </p:spPr>
        <p:txBody>
          <a:bodyPr/>
          <a:lstStyle/>
          <a:p>
            <a:fld id="{47A9008A-481B-4F65-A514-1AA65EA0FD53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8" name="Subtitle 7" descr="&lt;SUBTITLE&gt;{48.91677,634.3749,353.6666,42.87512}"/>
          <p:cNvSpPr>
            <a:spLocks noGrp="1"/>
          </p:cNvSpPr>
          <p:nvPr>
            <p:ph type="subTitle" idx="4294967295"/>
          </p:nvPr>
        </p:nvSpPr>
        <p:spPr>
          <a:xfrm>
            <a:off x="466344" y="5138928"/>
            <a:ext cx="8211312" cy="62124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Text Placeholder 8" descr="&lt;COMPANY_NAME&gt;{177,257.7743,36,42.87496}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Employee Name</a:t>
            </a:r>
          </a:p>
          <a:p>
            <a:r>
              <a:rPr lang="en-US" dirty="0"/>
              <a:t>Employee Title</a:t>
            </a:r>
          </a:p>
          <a:p>
            <a:r>
              <a:rPr lang="en-US" dirty="0"/>
              <a:t>Department Name</a:t>
            </a:r>
          </a:p>
          <a:p>
            <a:r>
              <a:rPr lang="en-US" dirty="0"/>
              <a:t>Date</a:t>
            </a:r>
          </a:p>
        </p:txBody>
      </p:sp>
      <p:sp>
        <p:nvSpPr>
          <p:cNvPr id="7" name="Title 6" descr="&lt;TITLE&gt;{122.6817,634.3749,227.5001,42.87512}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9149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558799" cy="206236"/>
          </a:xfrm>
        </p:spPr>
        <p:txBody>
          <a:bodyPr/>
          <a:lstStyle/>
          <a:p>
            <a:fld id="{47A9008A-481B-4F65-A514-1AA65EA0FD53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20" name="Title 19" descr="&lt;TITLE&gt;{184.5,634.3751,27.00008,42.87496}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" name="Subtitle 20" descr="&lt;SUBTITLE&gt;{25.44606,635.2501,216,42}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2" name="Text Placeholder 21" descr="&lt;COMPANY_NAME&gt;{91.5,633.3003,359.1251,42.87504}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3359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 descr="&lt;TITLE&gt;{184.5,636.5833,27.00008,40.66677}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" name="Subtitle 20" descr="&lt;SUBTITLE&gt;{25.44606,635.2501,216,42}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2" name="Text Placeholder 21" descr="&lt;COMPANY_NAME&gt;{91.5,635.5746,359.1251,41.67535}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80029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itle and content slide</a:t>
            </a:r>
            <a:endParaRPr lang="en-US" dirty="0"/>
          </a:p>
        </p:txBody>
      </p:sp>
      <p:sp>
        <p:nvSpPr>
          <p:cNvPr id="18" name="Content Placeholder 1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First content level – text appears in this style and color </a:t>
            </a:r>
          </a:p>
          <a:p>
            <a:pPr lvl="1"/>
            <a:r>
              <a:rPr lang="en-US" dirty="0"/>
              <a:t>Second content level – text appears in this font style size and color </a:t>
            </a:r>
          </a:p>
          <a:p>
            <a:pPr lvl="2"/>
            <a:r>
              <a:rPr lang="en-US" dirty="0"/>
              <a:t>Third content level – text appears here in this font style size and color </a:t>
            </a:r>
          </a:p>
          <a:p>
            <a:pPr lvl="3"/>
            <a:r>
              <a:rPr lang="en-US" dirty="0"/>
              <a:t>Fourth content level – text appears here in this font style size and color </a:t>
            </a:r>
          </a:p>
          <a:p>
            <a:pPr lvl="4"/>
            <a:r>
              <a:rPr lang="en-US" dirty="0"/>
              <a:t>Fifth content level – text appears here in this font style size and color </a:t>
            </a:r>
            <a:br>
              <a:rPr lang="en-US" dirty="0"/>
            </a:br>
            <a:endParaRPr lang="en-US" dirty="0"/>
          </a:p>
          <a:p>
            <a:pPr marL="0" indent="0">
              <a:buNone/>
            </a:pPr>
            <a:r>
              <a:rPr lang="en-US" sz="1400" dirty="0">
                <a:solidFill>
                  <a:schemeClr val="accent1"/>
                </a:solidFill>
              </a:rPr>
              <a:t>Please note: </a:t>
            </a:r>
            <a:r>
              <a:rPr lang="en-US" sz="1400" dirty="0"/>
              <a:t>To change between bullet points, do not use the ‘Bullets’ icon on the toolbar, </a:t>
            </a:r>
            <a:br>
              <a:rPr lang="en-US" sz="1400" dirty="0"/>
            </a:br>
            <a:r>
              <a:rPr lang="en-US" sz="1400" dirty="0"/>
              <a:t>as it is easier to use the ‘Increase List Level’ or ‘Indent’ icon, which will give you both </a:t>
            </a:r>
            <a:br>
              <a:rPr lang="en-US" sz="1400" dirty="0"/>
            </a:br>
            <a:r>
              <a:rPr lang="en-US" sz="1400" dirty="0"/>
              <a:t>the correct bullet and indent.</a:t>
            </a:r>
          </a:p>
        </p:txBody>
      </p:sp>
    </p:spTree>
    <p:extLst>
      <p:ext uri="{BB962C8B-B14F-4D97-AF65-F5344CB8AC3E}">
        <p14:creationId xmlns:p14="http://schemas.microsoft.com/office/powerpoint/2010/main" val="27549630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itle and subheading slide</a:t>
            </a:r>
            <a:endParaRPr lang="en-US" dirty="0"/>
          </a:p>
        </p:txBody>
      </p:sp>
      <p:sp>
        <p:nvSpPr>
          <p:cNvPr id="21" name="Content Placeholder 20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First content level – text appears in this style and color </a:t>
            </a:r>
          </a:p>
          <a:p>
            <a:pPr lvl="1"/>
            <a:r>
              <a:rPr lang="en-US" dirty="0"/>
              <a:t>Second content level – text appears in this font style size and color </a:t>
            </a:r>
          </a:p>
          <a:p>
            <a:pPr lvl="2"/>
            <a:r>
              <a:rPr lang="en-US" dirty="0"/>
              <a:t>Third content level – text appears here in this font style size and color </a:t>
            </a:r>
          </a:p>
          <a:p>
            <a:pPr lvl="3"/>
            <a:r>
              <a:rPr lang="en-US" dirty="0"/>
              <a:t>Fourth content level – text appears here in this font style size and color </a:t>
            </a:r>
          </a:p>
          <a:p>
            <a:pPr lvl="4"/>
            <a:r>
              <a:rPr lang="en-US" dirty="0"/>
              <a:t>Fifth content level – text appears here in this font style size and color </a:t>
            </a:r>
            <a:br>
              <a:rPr lang="en-US" dirty="0"/>
            </a:br>
            <a:endParaRPr lang="en-US" dirty="0"/>
          </a:p>
          <a:p>
            <a:pPr marL="0" indent="0">
              <a:buNone/>
            </a:pPr>
            <a:r>
              <a:rPr lang="en-US" sz="1400" dirty="0">
                <a:solidFill>
                  <a:schemeClr val="accent1"/>
                </a:solidFill>
              </a:rPr>
              <a:t>Please note: </a:t>
            </a:r>
            <a:r>
              <a:rPr lang="en-US" sz="1400" dirty="0"/>
              <a:t>To change between bullet points, do not use the ‘Bullets’ icon on the toolbar, </a:t>
            </a:r>
            <a:br>
              <a:rPr lang="en-US" sz="1400" dirty="0"/>
            </a:br>
            <a:r>
              <a:rPr lang="en-US" sz="1400" dirty="0"/>
              <a:t>as it is easier to use the ‘Increase List Level’ or ‘Indent’ icon, which will give you both </a:t>
            </a:r>
            <a:br>
              <a:rPr lang="en-US" sz="1400" dirty="0"/>
            </a:br>
            <a:r>
              <a:rPr lang="en-US" sz="1400" dirty="0"/>
              <a:t>the correct bullet and indent.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Subheading appears here</a:t>
            </a:r>
          </a:p>
        </p:txBody>
      </p:sp>
    </p:spTree>
    <p:extLst>
      <p:ext uri="{BB962C8B-B14F-4D97-AF65-F5344CB8AC3E}">
        <p14:creationId xmlns:p14="http://schemas.microsoft.com/office/powerpoint/2010/main" val="19960198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itle and two content slide</a:t>
            </a:r>
            <a:endParaRPr lang="en-US" dirty="0"/>
          </a:p>
        </p:txBody>
      </p:sp>
      <p:sp>
        <p:nvSpPr>
          <p:cNvPr id="21" name="Content Placeholder 20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/>
              <a:t>First content level – text appears in this style</a:t>
            </a:r>
          </a:p>
          <a:p>
            <a:pPr lvl="1"/>
            <a:r>
              <a:rPr lang="en-US"/>
              <a:t>Second content level – text appears in this font style size and color </a:t>
            </a:r>
          </a:p>
          <a:p>
            <a:pPr lvl="2"/>
            <a:r>
              <a:rPr lang="en-US"/>
              <a:t>Third content level – text appears here in this font style size and color</a:t>
            </a:r>
            <a:endParaRPr lang="en-US" dirty="0"/>
          </a:p>
        </p:txBody>
      </p:sp>
      <p:sp>
        <p:nvSpPr>
          <p:cNvPr id="22" name="Content Placeholder 21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/>
              <a:t>First content level – text appears in this style</a:t>
            </a:r>
          </a:p>
          <a:p>
            <a:pPr lvl="1"/>
            <a:r>
              <a:rPr lang="en-US"/>
              <a:t>Second content level – text appears in this font style size and color </a:t>
            </a:r>
          </a:p>
          <a:p>
            <a:pPr lvl="2"/>
            <a:r>
              <a:rPr lang="en-US"/>
              <a:t>Third content level – text appears here in this font style size and color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8482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Theme">
  <a:themeElements>
    <a:clrScheme name="Battelle">
      <a:dk1>
        <a:srgbClr val="424242"/>
      </a:dk1>
      <a:lt1>
        <a:sysClr val="window" lastClr="FFFFFF"/>
      </a:lt1>
      <a:dk2>
        <a:srgbClr val="004280"/>
      </a:dk2>
      <a:lt2>
        <a:srgbClr val="D2D2D2"/>
      </a:lt2>
      <a:accent1>
        <a:srgbClr val="0076BE"/>
      </a:accent1>
      <a:accent2>
        <a:srgbClr val="DF6420"/>
      </a:accent2>
      <a:accent3>
        <a:srgbClr val="73B564"/>
      </a:accent3>
      <a:accent4>
        <a:srgbClr val="FAA41A"/>
      </a:accent4>
      <a:accent5>
        <a:srgbClr val="004280"/>
      </a:accent5>
      <a:accent6>
        <a:srgbClr val="424242"/>
      </a:accent6>
      <a:hlink>
        <a:srgbClr val="004280"/>
      </a:hlink>
      <a:folHlink>
        <a:srgbClr val="005EB4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 rotWithShape="0">
          <a:gsLst>
            <a:gs pos="0">
              <a:srgbClr val="EAEAEA"/>
            </a:gs>
            <a:gs pos="100000">
              <a:schemeClr val="bg2"/>
            </a:gs>
          </a:gsLst>
          <a:lin ang="5400000" scaled="1"/>
        </a:gradFill>
        <a:ln w="12700" cap="flat" cmpd="sng" algn="ctr">
          <a:solidFill>
            <a:srgbClr val="40404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>
        <a:ln w="2857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Battelle">
      <a:dk1>
        <a:sysClr val="windowText" lastClr="000000"/>
      </a:dk1>
      <a:lt1>
        <a:sysClr val="window" lastClr="FFFFFF"/>
      </a:lt1>
      <a:dk2>
        <a:srgbClr val="004280"/>
      </a:dk2>
      <a:lt2>
        <a:srgbClr val="D2D2D2"/>
      </a:lt2>
      <a:accent1>
        <a:srgbClr val="0076BE"/>
      </a:accent1>
      <a:accent2>
        <a:srgbClr val="DF6420"/>
      </a:accent2>
      <a:accent3>
        <a:srgbClr val="73B564"/>
      </a:accent3>
      <a:accent4>
        <a:srgbClr val="FAA41A"/>
      </a:accent4>
      <a:accent5>
        <a:srgbClr val="004280"/>
      </a:accent5>
      <a:accent6>
        <a:srgbClr val="424242"/>
      </a:accent6>
      <a:hlink>
        <a:srgbClr val="004280"/>
      </a:hlink>
      <a:folHlink>
        <a:srgbClr val="005EB4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Battelle">
      <a:dk1>
        <a:sysClr val="windowText" lastClr="000000"/>
      </a:dk1>
      <a:lt1>
        <a:sysClr val="window" lastClr="FFFFFF"/>
      </a:lt1>
      <a:dk2>
        <a:srgbClr val="004280"/>
      </a:dk2>
      <a:lt2>
        <a:srgbClr val="D2D2D2"/>
      </a:lt2>
      <a:accent1>
        <a:srgbClr val="0076BE"/>
      </a:accent1>
      <a:accent2>
        <a:srgbClr val="DF6420"/>
      </a:accent2>
      <a:accent3>
        <a:srgbClr val="73B564"/>
      </a:accent3>
      <a:accent4>
        <a:srgbClr val="FAA41A"/>
      </a:accent4>
      <a:accent5>
        <a:srgbClr val="004280"/>
      </a:accent5>
      <a:accent6>
        <a:srgbClr val="424242"/>
      </a:accent6>
      <a:hlink>
        <a:srgbClr val="004280"/>
      </a:hlink>
      <a:folHlink>
        <a:srgbClr val="005EB4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StartDate xmlns="http://schemas.microsoft.com/sharepoint/v3" xsi:nil="true"/>
    <PublishingExpirationDate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18AA6CA7D000842A944B936E87AEFB6" ma:contentTypeVersion="2" ma:contentTypeDescription="Create a new document." ma:contentTypeScope="" ma:versionID="ac4e84f6ae39a5683f132caf2746b346">
  <xsd:schema xmlns:xsd="http://www.w3.org/2001/XMLSchema" xmlns:xs="http://www.w3.org/2001/XMLSchema" xmlns:p="http://schemas.microsoft.com/office/2006/metadata/properties" xmlns:ns1="http://schemas.microsoft.com/sharepoint/v3" xmlns:ns2="42d4191b-ef87-40f8-a2ec-45b7baf1e568" targetNamespace="http://schemas.microsoft.com/office/2006/metadata/properties" ma:root="true" ma:fieldsID="5f1ccd75178e625ae1e189895857fc52" ns1:_="" ns2:_="">
    <xsd:import namespace="http://schemas.microsoft.com/sharepoint/v3"/>
    <xsd:import namespace="42d4191b-ef87-40f8-a2ec-45b7baf1e568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2d4191b-ef87-40f8-a2ec-45b7baf1e568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2FDE722-280F-4BD7-A9F5-DA157BE8E932}">
  <ds:schemaRefs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sharepoint/v3"/>
    <ds:schemaRef ds:uri="42d4191b-ef87-40f8-a2ec-45b7baf1e568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8761D379-E87B-4DA9-96C4-499F0D311E6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C29CBC6-DF64-4ABE-93C6-AC15251E66F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42d4191b-ef87-40f8-a2ec-45b7baf1e56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81</TotalTime>
  <Words>520</Words>
  <Application>Microsoft Office PowerPoint</Application>
  <PresentationFormat>On-screen Show (4:3)</PresentationFormat>
  <Paragraphs>87</Paragraphs>
  <Slides>15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0" baseType="lpstr">
      <vt:lpstr>Arial</vt:lpstr>
      <vt:lpstr>Calibri</vt:lpstr>
      <vt:lpstr>Wingdings</vt:lpstr>
      <vt:lpstr>Default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itle and content slide</vt:lpstr>
      <vt:lpstr>Title and subheading slide</vt:lpstr>
      <vt:lpstr>Title and two content slide</vt:lpstr>
      <vt:lpstr>PowerPoint Presentation</vt:lpstr>
      <vt:lpstr>Four content slide</vt:lpstr>
      <vt:lpstr>Two content with subheading slide</vt:lpstr>
      <vt:lpstr>Title only slide</vt:lpstr>
      <vt:lpstr>PowerPoint Presentation</vt:lpstr>
      <vt:lpstr>PowerPoint Presentation</vt:lpstr>
    </vt:vector>
  </TitlesOfParts>
  <Company>Battell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Title of Presentation</dc:title>
  <dc:creator>www.wizkit.com</dc:creator>
  <cp:lastModifiedBy>Charlotte Roiger</cp:lastModifiedBy>
  <cp:revision>88</cp:revision>
  <dcterms:created xsi:type="dcterms:W3CDTF">2014-03-04T19:43:17Z</dcterms:created>
  <dcterms:modified xsi:type="dcterms:W3CDTF">2017-06-28T22:42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izKit Template Type">
    <vt:lpwstr>Onscreen</vt:lpwstr>
  </property>
  <property fmtid="{D5CDD505-2E9C-101B-9397-08002B2CF9AE}" pid="3" name="WizKit Template Version">
    <vt:i4>4</vt:i4>
  </property>
  <property fmtid="{D5CDD505-2E9C-101B-9397-08002B2CF9AE}" pid="4" name="ContentTypeId">
    <vt:lpwstr>0x010100618AA6CA7D000842A944B936E87AEFB6</vt:lpwstr>
  </property>
</Properties>
</file>